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4" r:id="rId2"/>
  </p:sldMasterIdLst>
  <p:notesMasterIdLst>
    <p:notesMasterId r:id="rId10"/>
  </p:notesMasterIdLst>
  <p:sldIdLst>
    <p:sldId id="286" r:id="rId3"/>
    <p:sldId id="306" r:id="rId4"/>
    <p:sldId id="293" r:id="rId5"/>
    <p:sldId id="296" r:id="rId6"/>
    <p:sldId id="297" r:id="rId7"/>
    <p:sldId id="299" r:id="rId8"/>
    <p:sldId id="287" r:id="rId9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F5FB"/>
    <a:srgbClr val="EE80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21" autoAdjust="0"/>
    <p:restoredTop sz="94660"/>
  </p:normalViewPr>
  <p:slideViewPr>
    <p:cSldViewPr snapToGrid="0">
      <p:cViewPr varScale="1">
        <p:scale>
          <a:sx n="71" d="100"/>
          <a:sy n="71" d="100"/>
        </p:scale>
        <p:origin x="606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4DE840-AED4-40C6-A501-66E229A5071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D96A9E-F520-4C54-8D72-FC93ECDAD71F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76291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374276-E4AB-42DA-AF16-3DE0E0ADE3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19ED3D2-AB3E-42A2-8D7B-3FC60F0121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C0E1EF6-8D0B-40A1-887F-839C1D038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0BA0E80-7B21-4E89-9A32-E7D09EA56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2754EA3-8E16-4D77-82A5-6951EE4F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48516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1D7208-792C-4762-B530-FC23616B4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6A64DD7-5531-4D1F-AB19-E1113E7FDF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4B6A9D9-4C61-4F10-92FC-0AFE6228E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1E338BE-58C7-4953-8261-8D4209F91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635C85D-876A-4C61-9C46-49C8C2A19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91696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9C8FE618-F2B4-4D0F-A13E-7C126F1ED99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540A4BB-03A4-40FF-B13C-A23BA64CF3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22D4340-6E14-4783-8143-28F3E4162C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18D25EC-5580-4F78-965A-A2AB0BB6B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C62DFC4-4477-46D1-A75A-F53BF2241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33495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48000" y="1508400"/>
            <a:ext cx="10348800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9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661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854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349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814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0289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113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60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289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D328CB9-2640-4868-885E-A1FEB9777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3395E5C-DDB0-4D7A-8F2D-E107B1D83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C5C4159-46BF-440F-A315-7F10E33F0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F2E404E-7D45-4FD9-B0B0-D4B78612B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F22D9EE-4FBE-4C1E-AA8B-928F3BCE7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743279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9353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982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1054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662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8FD32F-AD2A-4073-B0F6-9A4767CC9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728D09-9723-4925-AB2D-3AD2FA4E3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1A8DF51-97F4-4CB2-8AE5-7F0C4ED44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9CD032B-D532-4614-A182-63C1E549D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4AB8FA-DC08-4D22-B59E-24927F6BA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13262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E7DDE5-CE7A-4019-8052-89A0CC6CD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7C64EC0-2776-4D2D-88BE-94F38469E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38FA28D-484F-441A-B356-893671A2E8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CECE479-2F58-4744-853D-56FF016E5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20D25D5-6FBB-44A4-A9E4-A1120E40C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B4B4823-462A-405C-ADD0-8507D0481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03373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7915519-6BDC-48AD-9B77-FC15C775E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341BCDE-C31F-42AF-AE5E-01C1C174F1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63B7FA9-12BE-44AB-BEAD-321489E407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265659B-DE8E-4BCE-938D-49A1339B93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9EC3647-2B5D-4FDB-B863-66309A6333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1EB95E50-87DF-4B8C-93DF-65AE3A549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BA0B529-0691-4039-AF23-4C6586112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3611759-9E79-4449-8E17-75F00F74F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53722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059D1C-F45E-4073-B48F-0D9FD2640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64D3DB7-2708-46E3-95A2-DF7876DFB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D115F1B-7D3C-4ECD-A3D2-4A613601A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C52E329-5A03-49D1-AE30-9D15BAA9EE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53416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1D3AD5E-5BB0-4657-AB93-EBB8F69AA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758E677-E323-4E2B-9DB5-EC0C0AEC8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F4A762C-FD09-4492-A1BD-9C9D4CA86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93212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968AE76-5035-44C9-A435-94268D3A1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5A3F3CA-CA18-4B0D-8840-9CA1032C3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4206009-C55A-4D1B-BAAC-6AA619450E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A58BB72-3C40-44A2-AF0C-94C1041BB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D3877EB-F6FE-4847-AED9-B4C716972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70BEF99-BBC8-405B-87A5-2B5C5EFDA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78057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E20B21-F237-4F5D-BC75-99E22D2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6F67919-B1C7-449E-A17A-3E393DB2A4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DD2BFB9-31B8-4C9D-846E-2CF5A2E886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BDB8A06-5142-43F5-BA6C-B922E129E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3E00857-4B5A-4E47-82F2-58405708C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47043B1-5FEB-49A5-A412-22E01A04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31685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93E93F42-1920-4F67-A67C-0D8CEA3B6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A570D45-B568-4459-B146-FF942DAE3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B10DF9B-3E49-4EC8-8130-2B443D7B48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EF0675-D04A-4A4E-9A18-6276E45D3585}" type="datetimeFigureOut">
              <a:rPr lang="id-ID" smtClean="0"/>
              <a:t>13/12/2018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A8AF56E-10D3-4639-B748-111ED25BA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6DFC55B-DE8A-4680-9721-E83CD2234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AAA16D-4367-4DAB-949C-29FB44DB7EC3}" type="slidenum">
              <a:rPr lang="id-ID" smtClean="0"/>
              <a:t>‹#›</a:t>
            </a:fld>
            <a:endParaRPr lang="id-ID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E677A4E-5106-4056-8BBA-8EF9B3ED96F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29" y="185738"/>
            <a:ext cx="697871" cy="93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8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F5D68-51C3-48A4-AAAF-00FCF7B85D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C3F0C-50FB-4007-A938-6987B339E4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50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457" y="-116114"/>
            <a:ext cx="6647543" cy="697411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3753" y="2307772"/>
            <a:ext cx="527487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bangau</a:t>
            </a: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2400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tingan</a:t>
            </a: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Landscape</a:t>
            </a:r>
          </a:p>
          <a:p>
            <a:endParaRPr lang="en-US" sz="2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“Landscape” : Luas +/-</a:t>
            </a:r>
          </a:p>
          <a:p>
            <a:r>
              <a:rPr lang="en-US" sz="2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3.700.000 Ha</a:t>
            </a:r>
          </a:p>
          <a:p>
            <a:endParaRPr lang="en-US" sz="2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“</a:t>
            </a:r>
            <a:r>
              <a:rPr lang="en-US" sz="2400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tingan</a:t>
            </a:r>
            <a:r>
              <a:rPr lang="en-US" sz="2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Corridor“ : Luas +/-  1.445.017 Ha</a:t>
            </a:r>
            <a:endParaRPr lang="en-US" sz="2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4021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1589" y="0"/>
            <a:ext cx="6319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494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PH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1229025"/>
              </p:ext>
            </p:extLst>
          </p:nvPr>
        </p:nvGraphicFramePr>
        <p:xfrm>
          <a:off x="1784453" y="-30130"/>
          <a:ext cx="6925235" cy="68881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Acrobat Document" r:id="rId3" imgW="22707194" imgH="32108654" progId="AcroExch.Document.11">
                  <p:embed/>
                </p:oleObj>
              </mc:Choice>
              <mc:Fallback>
                <p:oleObj name="Acrobat Document" r:id="rId3" imgW="22707194" imgH="32108654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84453" y="-30130"/>
                        <a:ext cx="6925235" cy="68881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/>
          <p:cNvSpPr/>
          <p:nvPr/>
        </p:nvSpPr>
        <p:spPr>
          <a:xfrm>
            <a:off x="6468035" y="4908176"/>
            <a:ext cx="712694" cy="49754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3630706" y="1573306"/>
            <a:ext cx="605118" cy="49754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410635" y="2877671"/>
            <a:ext cx="685800" cy="37651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247071" y="1690328"/>
            <a:ext cx="562058" cy="38015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816765" y="4131889"/>
            <a:ext cx="446471" cy="30928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5412440" y="2595282"/>
            <a:ext cx="385818" cy="36287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3899647" y="2393576"/>
            <a:ext cx="510988" cy="34962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8862088" y="2581835"/>
            <a:ext cx="2191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</a:t>
            </a:r>
            <a:r>
              <a:rPr lang="en-US" dirty="0" smtClean="0"/>
              <a:t>/+ 2.300.000 Ha’s di </a:t>
            </a:r>
            <a:r>
              <a:rPr lang="en-US" dirty="0" err="1" smtClean="0"/>
              <a:t>dalam</a:t>
            </a:r>
            <a:r>
              <a:rPr lang="en-US" dirty="0" smtClean="0"/>
              <a:t> landsc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93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4650" y="0"/>
            <a:ext cx="5048250" cy="1968570"/>
          </a:xfrm>
        </p:spPr>
        <p:txBody>
          <a:bodyPr>
            <a:norm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p of Spatial Utilization</a:t>
            </a:r>
            <a:b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isa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IS LESTARI)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640" t="24475" r="80601" b="23282"/>
          <a:stretch/>
        </p:blipFill>
        <p:spPr>
          <a:xfrm>
            <a:off x="6103091" y="2479646"/>
            <a:ext cx="2009884" cy="3522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28389" t="51012" r="55180" b="17298"/>
          <a:stretch/>
        </p:blipFill>
        <p:spPr>
          <a:xfrm>
            <a:off x="8326136" y="2479646"/>
            <a:ext cx="2630366" cy="28522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47789" t="22666" r="24892" b="14482"/>
          <a:stretch/>
        </p:blipFill>
        <p:spPr>
          <a:xfrm>
            <a:off x="1269831" y="553788"/>
            <a:ext cx="4595051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47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638" y="365125"/>
            <a:ext cx="11372162" cy="1325563"/>
          </a:xfrm>
        </p:spPr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est Concession between  </a:t>
            </a:r>
            <a:r>
              <a:rPr lang="en-US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bangau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NP and  BBBR NP 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US" sz="2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isa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IS LESTARI)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638" y="1663094"/>
            <a:ext cx="6587795" cy="4660432"/>
          </a:xfr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6989071" y="1787859"/>
            <a:ext cx="5045161" cy="46604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lls into three administrative : District of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ti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nung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s and Municipality of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langka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aya</a:t>
            </a:r>
          </a:p>
          <a:p>
            <a:endParaRPr lang="en-US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  Forest concession within the landscape  </a:t>
            </a: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UPHHK – HA 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974.000 Ha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UPHHK – 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61.000 Ha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tan</a:t>
            </a: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masyarakat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.587 Ha (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langkaraya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non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if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tan</a:t>
            </a: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naman</a:t>
            </a: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kyat 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3.800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man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t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aya 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.130 Ha di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nung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t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didik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hamadiyah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niversity  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5000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MTROP 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gan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as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8.876 Ha</a:t>
            </a:r>
            <a:endParaRPr lang="en-US" sz="1800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027709" y="2647185"/>
            <a:ext cx="5045161" cy="367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Oval 6"/>
          <p:cNvSpPr/>
          <p:nvPr/>
        </p:nvSpPr>
        <p:spPr>
          <a:xfrm rot="20128092">
            <a:off x="3310491" y="2055506"/>
            <a:ext cx="1744880" cy="3313170"/>
          </a:xfrm>
          <a:prstGeom prst="ellipse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6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3670" y="-61539"/>
            <a:ext cx="7028330" cy="1029727"/>
          </a:xfrm>
        </p:spPr>
        <p:txBody>
          <a:bodyPr/>
          <a:lstStyle/>
          <a:p>
            <a:r>
              <a:rPr lang="en-US" dirty="0" smtClean="0"/>
              <a:t>PBS di corridor </a:t>
            </a:r>
            <a:r>
              <a:rPr lang="en-US" sz="2000" dirty="0" smtClean="0"/>
              <a:t>(</a:t>
            </a:r>
            <a:r>
              <a:rPr lang="en-US" sz="2000" dirty="0" err="1" smtClean="0"/>
              <a:t>analisa</a:t>
            </a:r>
            <a:r>
              <a:rPr lang="en-US" sz="2000" dirty="0" smtClean="0"/>
              <a:t> WWF)</a:t>
            </a:r>
            <a:endParaRPr lang="en-US" sz="20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025" y="0"/>
            <a:ext cx="5163671" cy="6996621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928565"/>
              </p:ext>
            </p:extLst>
          </p:nvPr>
        </p:nvGraphicFramePr>
        <p:xfrm>
          <a:off x="5230905" y="1210235"/>
          <a:ext cx="3240741" cy="54805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0891"/>
                <a:gridCol w="929850"/>
              </a:tblGrid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Nama Perusahaan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Luas (Ha)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ARJUNA UTAMA SAWIT, PT.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3,70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BERKALA MAJU BERSAMA PT.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8,62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 BISMA DHARMA KENCANA, PT. 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           10,230 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BORNEO SAWIT PERDAN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1,08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BUMI AGRO PRIM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4,40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BUMI HUTANI PERMAI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5,27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FLORA NUSA PERDAN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6,37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JAYA JADI  UTAM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7,72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KAHAYAN AGRO PLANTATION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1,37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KALIMANTAN HAMPARAN SAWIT, PT.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1,76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Karunia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Alam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Mentaya</a:t>
                      </a:r>
                      <a:r>
                        <a:rPr lang="en-US" sz="1100" u="none" strike="noStrike" dirty="0">
                          <a:effectLst/>
                        </a:rPr>
                        <a:t> Jay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11,16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MENARA TUNGGAL PERKAS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4,16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 MULIA AGRO SAWIT LESTARI, PT. </a:t>
                      </a:r>
                      <a:endParaRPr lang="en-US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             4,369 </a:t>
                      </a:r>
                      <a:endParaRPr lang="en-US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 dirty="0">
                          <a:effectLst/>
                        </a:rPr>
                        <a:t> MULIA SAWIT AGRO LESTARI, PT. (BLOK I)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6,54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MULIA SAWIT AGRO LESTARI, PT.(BLOK II)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1,05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 PERSADA SEJAHTERA AGRO MAKMUR, PT. 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1,35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PT. AGRINDO GREEN LESTARI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8,81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PT. CITRA AGRO PERKASA ABADI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9,01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PT. CITRA MITRA PERKASA UTAMA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0,93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PT. GUMAS ALAM SUBUR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0,43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PT. KURUN SUMBER REJEKI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9,48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  <a:tr h="2223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PT. PRASETYA MITRA MUDA (BLOK I)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7,49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5482569"/>
              </p:ext>
            </p:extLst>
          </p:nvPr>
        </p:nvGraphicFramePr>
        <p:xfrm>
          <a:off x="8659904" y="1129555"/>
          <a:ext cx="3532095" cy="32003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09737"/>
                <a:gridCol w="822358"/>
              </a:tblGrid>
              <a:tr h="23411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Nama Perusahaan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Luas (Ha)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PT. PRASETYA MITRA MUDA (BLOK II)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2,46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PT. PRASETYA MITRA MUDA (BLOK III)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3,46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SAMBA SAKTI PERKASA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7,06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SURYA BAROKAH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12,37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TANTAHAN PANDUHUP ASI.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7,29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Tewah Bahana Lestari, PT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4,83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23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WINDU NABATINDO LESTARI, PT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11,51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083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248000" y="1508400"/>
            <a:ext cx="3034210" cy="4590000"/>
          </a:xfrm>
        </p:spPr>
        <p:txBody>
          <a:bodyPr/>
          <a:lstStyle/>
          <a:p>
            <a:r>
              <a:rPr lang="en-US" dirty="0"/>
              <a:t> 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210" y="0"/>
            <a:ext cx="7909790" cy="699247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5459" y="2043953"/>
            <a:ext cx="363675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Investigasi</a:t>
            </a:r>
            <a:r>
              <a:rPr lang="en-US" dirty="0" smtClean="0"/>
              <a:t> PPSKT </a:t>
            </a:r>
            <a:r>
              <a:rPr lang="en-US" dirty="0" err="1" smtClean="0"/>
              <a:t>dan</a:t>
            </a:r>
            <a:r>
              <a:rPr lang="en-US" dirty="0" smtClean="0"/>
              <a:t> JARI, 201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12 </a:t>
            </a:r>
            <a:r>
              <a:rPr lang="en-US" dirty="0" err="1" smtClean="0"/>
              <a:t>Pengepul</a:t>
            </a:r>
            <a:r>
              <a:rPr lang="en-US" dirty="0" smtClean="0"/>
              <a:t> yang </a:t>
            </a:r>
            <a:r>
              <a:rPr lang="en-US" dirty="0" err="1" smtClean="0"/>
              <a:t>menerima</a:t>
            </a:r>
            <a:r>
              <a:rPr lang="en-US" dirty="0" smtClean="0"/>
              <a:t> </a:t>
            </a:r>
            <a:r>
              <a:rPr lang="en-US" dirty="0" err="1" smtClean="0"/>
              <a:t>pasokan</a:t>
            </a:r>
            <a:r>
              <a:rPr lang="en-US" dirty="0" smtClean="0"/>
              <a:t> </a:t>
            </a:r>
            <a:r>
              <a:rPr lang="en-US" dirty="0" err="1" smtClean="0"/>
              <a:t>variatif</a:t>
            </a:r>
            <a:r>
              <a:rPr lang="en-US" dirty="0" smtClean="0"/>
              <a:t> </a:t>
            </a:r>
            <a:r>
              <a:rPr lang="en-US" dirty="0" err="1" smtClean="0"/>
              <a:t>dari</a:t>
            </a:r>
            <a:r>
              <a:rPr lang="en-US" dirty="0" smtClean="0"/>
              <a:t> 2 </a:t>
            </a:r>
            <a:r>
              <a:rPr lang="en-US" dirty="0" err="1" smtClean="0"/>
              <a:t>sd</a:t>
            </a:r>
            <a:r>
              <a:rPr lang="en-US" dirty="0" smtClean="0"/>
              <a:t> 4 supp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Keberadaan</a:t>
            </a:r>
            <a:r>
              <a:rPr lang="en-US" dirty="0" smtClean="0"/>
              <a:t> </a:t>
            </a:r>
            <a:r>
              <a:rPr lang="en-US" dirty="0" err="1" smtClean="0"/>
              <a:t>Pengepul</a:t>
            </a:r>
            <a:r>
              <a:rPr lang="en-US" dirty="0" smtClean="0"/>
              <a:t> </a:t>
            </a:r>
            <a:r>
              <a:rPr lang="en-US" dirty="0" err="1" smtClean="0"/>
              <a:t>besar</a:t>
            </a:r>
            <a:r>
              <a:rPr lang="en-US" dirty="0" smtClean="0"/>
              <a:t> di </a:t>
            </a:r>
            <a:r>
              <a:rPr lang="en-US" dirty="0" err="1" smtClean="0"/>
              <a:t>Palangka</a:t>
            </a:r>
            <a:r>
              <a:rPr lang="en-US" dirty="0" smtClean="0"/>
              <a:t> Raya, </a:t>
            </a:r>
            <a:r>
              <a:rPr lang="en-US" dirty="0" err="1" smtClean="0"/>
              <a:t>Sampit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Banjarmas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Belum</a:t>
            </a:r>
            <a:r>
              <a:rPr lang="en-US" dirty="0" smtClean="0"/>
              <a:t> </a:t>
            </a:r>
            <a:r>
              <a:rPr lang="en-US" dirty="0" err="1" smtClean="0"/>
              <a:t>terdata</a:t>
            </a:r>
            <a:r>
              <a:rPr lang="en-US" dirty="0" smtClean="0"/>
              <a:t> Orangutan </a:t>
            </a:r>
            <a:r>
              <a:rPr lang="en-US" dirty="0" err="1" smtClean="0"/>
              <a:t>atau</a:t>
            </a:r>
            <a:r>
              <a:rPr lang="en-US" dirty="0" smtClean="0"/>
              <a:t> Probosc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64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6</TotalTime>
  <Words>462</Words>
  <Application>Microsoft Office PowerPoint</Application>
  <PresentationFormat>Widescreen</PresentationFormat>
  <Paragraphs>9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2_Office Theme</vt:lpstr>
      <vt:lpstr>think-cell Slide</vt:lpstr>
      <vt:lpstr>Acrobat Document</vt:lpstr>
      <vt:lpstr>PowerPoint Presentation</vt:lpstr>
      <vt:lpstr>PowerPoint Presentation</vt:lpstr>
      <vt:lpstr>KPH</vt:lpstr>
      <vt:lpstr>Map of Spatial Utilization (analisa GIS LESTARI)</vt:lpstr>
      <vt:lpstr>Forest Concession between  Sebangau  NP and  BBBR NP (analisa GIS LESTARI)</vt:lpstr>
      <vt:lpstr>PBS di corridor (analisa WWF)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ff Conference 2018</dc:title>
  <dc:creator>Rudi Permana</dc:creator>
  <cp:lastModifiedBy>LESTARI</cp:lastModifiedBy>
  <cp:revision>95</cp:revision>
  <dcterms:created xsi:type="dcterms:W3CDTF">2018-04-20T06:50:13Z</dcterms:created>
  <dcterms:modified xsi:type="dcterms:W3CDTF">2018-12-13T04:05:41Z</dcterms:modified>
</cp:coreProperties>
</file>